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17"/>
  </p:notesMasterIdLst>
  <p:sldIdLst>
    <p:sldId id="1025" r:id="rId9"/>
    <p:sldId id="1947" r:id="rId10"/>
    <p:sldId id="1959" r:id="rId11"/>
    <p:sldId id="1971" r:id="rId12"/>
    <p:sldId id="1952" r:id="rId13"/>
    <p:sldId id="1987" r:id="rId14"/>
    <p:sldId id="1978" r:id="rId15"/>
    <p:sldId id="1956" r:id="rId16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09C18-7FA1-47EE-B57A-E7DBA4272B23}" v="5" dt="2020-06-23T01:27:32.324"/>
    <p1510:client id="{2B78A489-78AC-43E0-83F2-8A06B1DCD034}" v="52" dt="2020-08-11T15:45:59.278"/>
    <p1510:client id="{544AFD79-8620-4B7C-97C1-83AE9902C830}" v="678" dt="2020-08-17T16:45:42.282"/>
    <p1510:client id="{7DB94997-C8F0-4693-A0FE-258C3A268589}" v="102" dt="2020-08-11T15:50:13.8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2880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53fee52f947392e3" providerId="Windows Live" clId="Web-{2B78A489-78AC-43E0-83F2-8A06B1DCD034}"/>
    <pc:docChg chg="modSld">
      <pc:chgData name="Guest User" userId="53fee52f947392e3" providerId="Windows Live" clId="Web-{2B78A489-78AC-43E0-83F2-8A06B1DCD034}" dt="2020-08-11T15:45:59.278" v="51" actId="20577"/>
      <pc:docMkLst>
        <pc:docMk/>
      </pc:docMkLst>
      <pc:sldChg chg="modSp">
        <pc:chgData name="Guest User" userId="53fee52f947392e3" providerId="Windows Live" clId="Web-{2B78A489-78AC-43E0-83F2-8A06B1DCD034}" dt="2020-08-11T15:42:26.167" v="13" actId="20577"/>
        <pc:sldMkLst>
          <pc:docMk/>
          <pc:sldMk cId="2539340765" sldId="1025"/>
        </pc:sldMkLst>
        <pc:spChg chg="mod">
          <ac:chgData name="Guest User" userId="53fee52f947392e3" providerId="Windows Live" clId="Web-{2B78A489-78AC-43E0-83F2-8A06B1DCD034}" dt="2020-08-11T15:42:26.167" v="13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">
        <pc:chgData name="Guest User" userId="53fee52f947392e3" providerId="Windows Live" clId="Web-{2B78A489-78AC-43E0-83F2-8A06B1DCD034}" dt="2020-08-11T15:45:59.278" v="50" actId="20577"/>
        <pc:sldMkLst>
          <pc:docMk/>
          <pc:sldMk cId="682321964" sldId="1959"/>
        </pc:sldMkLst>
        <pc:spChg chg="mod">
          <ac:chgData name="Guest User" userId="53fee52f947392e3" providerId="Windows Live" clId="Web-{2B78A489-78AC-43E0-83F2-8A06B1DCD034}" dt="2020-08-11T15:45:59.278" v="50" actId="20577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Guest User" userId="53fee52f947392e3" providerId="Windows Live" clId="Web-{2B78A489-78AC-43E0-83F2-8A06B1DCD034}" dt="2020-08-11T15:40:31.111" v="11" actId="20577"/>
        <pc:sldMkLst>
          <pc:docMk/>
          <pc:sldMk cId="2113119846" sldId="1971"/>
        </pc:sldMkLst>
        <pc:spChg chg="mod">
          <ac:chgData name="Guest User" userId="53fee52f947392e3" providerId="Windows Live" clId="Web-{2B78A489-78AC-43E0-83F2-8A06B1DCD034}" dt="2020-08-11T15:40:31.111" v="11" actId="20577"/>
          <ac:spMkLst>
            <pc:docMk/>
            <pc:sldMk cId="2113119846" sldId="1971"/>
            <ac:spMk id="4" creationId="{847D5D02-5875-B44C-9B4C-348BDA45A985}"/>
          </ac:spMkLst>
        </pc:spChg>
      </pc:sldChg>
    </pc:docChg>
  </pc:docChgLst>
  <pc:docChgLst>
    <pc:chgData name="Robert Johnstone" userId="cb449c38944dd802" providerId="LiveId" clId="{00E079DC-640D-424F-8DF1-351EB8A0556F}"/>
    <pc:docChg chg="custSel addSld delSld modSld sldOrd">
      <pc:chgData name="Robert Johnstone" userId="cb449c38944dd802" providerId="LiveId" clId="{00E079DC-640D-424F-8DF1-351EB8A0556F}" dt="2020-04-02T18:22:36.360" v="323"/>
      <pc:docMkLst>
        <pc:docMk/>
      </pc:docMkLst>
      <pc:sldChg chg="addSp modSp">
        <pc:chgData name="Robert Johnstone" userId="cb449c38944dd802" providerId="LiveId" clId="{00E079DC-640D-424F-8DF1-351EB8A0556F}" dt="2020-04-02T18:22:36.360" v="323"/>
        <pc:sldMkLst>
          <pc:docMk/>
          <pc:sldMk cId="2539340765" sldId="1025"/>
        </pc:sldMkLst>
        <pc:spChg chg="mod">
          <ac:chgData name="Robert Johnstone" userId="cb449c38944dd802" providerId="LiveId" clId="{00E079DC-640D-424F-8DF1-351EB8A0556F}" dt="2020-03-31T16:30:36.719" v="308" actId="20577"/>
          <ac:spMkLst>
            <pc:docMk/>
            <pc:sldMk cId="2539340765" sldId="1025"/>
            <ac:spMk id="3" creationId="{00000000-0000-0000-0000-000000000000}"/>
          </ac:spMkLst>
        </pc:spChg>
        <pc:picChg chg="add">
          <ac:chgData name="Robert Johnstone" userId="cb449c38944dd802" providerId="LiveId" clId="{00E079DC-640D-424F-8DF1-351EB8A0556F}" dt="2020-04-02T18:22:36.360" v="323"/>
          <ac:picMkLst>
            <pc:docMk/>
            <pc:sldMk cId="2539340765" sldId="1025"/>
            <ac:picMk id="5" creationId="{8ABEFA8C-A754-4739-AEB3-9B0D633E139E}"/>
          </ac:picMkLst>
        </pc:picChg>
      </pc:sldChg>
      <pc:sldChg chg="modSp del ord">
        <pc:chgData name="Robert Johnstone" userId="cb449c38944dd802" providerId="LiveId" clId="{00E079DC-640D-424F-8DF1-351EB8A0556F}" dt="2020-03-29T15:48:26.188" v="33" actId="47"/>
        <pc:sldMkLst>
          <pc:docMk/>
          <pc:sldMk cId="1078822957" sldId="1769"/>
        </pc:sldMkLst>
        <pc:spChg chg="mod">
          <ac:chgData name="Robert Johnstone" userId="cb449c38944dd802" providerId="LiveId" clId="{00E079DC-640D-424F-8DF1-351EB8A0556F}" dt="2020-03-29T15:34:46.323" v="9" actId="207"/>
          <ac:spMkLst>
            <pc:docMk/>
            <pc:sldMk cId="1078822957" sldId="1769"/>
            <ac:spMk id="2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00.640" v="34" actId="113"/>
        <pc:sldMkLst>
          <pc:docMk/>
          <pc:sldMk cId="128915136" sldId="1947"/>
        </pc:sldMkLst>
        <pc:spChg chg="mod">
          <ac:chgData name="Robert Johnstone" userId="cb449c38944dd802" providerId="LiveId" clId="{00E079DC-640D-424F-8DF1-351EB8A0556F}" dt="2020-03-29T15:33:58.862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00E079DC-640D-424F-8DF1-351EB8A0556F}" dt="2020-03-29T17:23:00.640" v="34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00E079DC-640D-424F-8DF1-351EB8A0556F}" dt="2020-03-29T17:32:53.858" v="297" actId="14100"/>
        <pc:sldMkLst>
          <pc:docMk/>
          <pc:sldMk cId="3720268094" sldId="1952"/>
        </pc:sldMkLst>
        <pc:spChg chg="mod">
          <ac:chgData name="Robert Johnstone" userId="cb449c38944dd802" providerId="LiveId" clId="{00E079DC-640D-424F-8DF1-351EB8A0556F}" dt="2020-03-29T17:24:40.616" v="83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53.858" v="297" actId="14100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7:28.562" v="192" actId="1036"/>
        <pc:sldMkLst>
          <pc:docMk/>
          <pc:sldMk cId="3391632219" sldId="1955"/>
        </pc:sldMkLst>
        <pc:spChg chg="mod">
          <ac:chgData name="Robert Johnstone" userId="cb449c38944dd802" providerId="LiveId" clId="{00E079DC-640D-424F-8DF1-351EB8A0556F}" dt="2020-03-29T17:26:53.803" v="163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7:28.562" v="192" actId="1036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00E079DC-640D-424F-8DF1-351EB8A0556F}" dt="2020-03-29T17:28:30.601" v="223" actId="113"/>
        <pc:sldMkLst>
          <pc:docMk/>
          <pc:sldMk cId="159093646" sldId="1956"/>
        </pc:sldMkLst>
        <pc:spChg chg="mod">
          <ac:chgData name="Robert Johnstone" userId="cb449c38944dd802" providerId="LiveId" clId="{00E079DC-640D-424F-8DF1-351EB8A0556F}" dt="2020-03-29T15:34:40.894" v="8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00E079DC-640D-424F-8DF1-351EB8A0556F}" dt="2020-03-29T17:28:30.601" v="223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00E079DC-640D-424F-8DF1-351EB8A0556F}" dt="2020-03-31T16:35:17.196" v="322" actId="20577"/>
        <pc:sldMkLst>
          <pc:docMk/>
          <pc:sldMk cId="682321964" sldId="1959"/>
        </pc:sldMkLst>
        <pc:spChg chg="mod">
          <ac:chgData name="Robert Johnstone" userId="cb449c38944dd802" providerId="LiveId" clId="{00E079DC-640D-424F-8DF1-351EB8A0556F}" dt="2020-03-31T16:35:17.196" v="322" actId="20577"/>
          <ac:spMkLst>
            <pc:docMk/>
            <pc:sldMk cId="682321964" sldId="1959"/>
            <ac:spMk id="2" creationId="{00000000-0000-0000-0000-000000000000}"/>
          </ac:spMkLst>
        </pc:spChg>
        <pc:spChg chg="mod">
          <ac:chgData name="Robert Johnstone" userId="cb449c38944dd802" providerId="LiveId" clId="{00E079DC-640D-424F-8DF1-351EB8A0556F}" dt="2020-03-31T16:35:04.660" v="310" actId="27636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Robert Johnstone" userId="cb449c38944dd802" providerId="LiveId" clId="{00E079DC-640D-424F-8DF1-351EB8A0556F}" dt="2020-03-29T17:23:18.855" v="37" actId="313"/>
        <pc:sldMkLst>
          <pc:docMk/>
          <pc:sldMk cId="2113119846" sldId="1971"/>
        </pc:sldMkLst>
        <pc:spChg chg="mod">
          <ac:chgData name="Robert Johnstone" userId="cb449c38944dd802" providerId="LiveId" clId="{00E079DC-640D-424F-8DF1-351EB8A0556F}" dt="2020-03-29T15:34:03.129" v="1" actId="207"/>
          <ac:spMkLst>
            <pc:docMk/>
            <pc:sldMk cId="2113119846" sldId="1971"/>
            <ac:spMk id="2" creationId="{E3446B13-2E95-464E-BF8F-7A7ACDF2D27C}"/>
          </ac:spMkLst>
        </pc:spChg>
        <pc:spChg chg="mod">
          <ac:chgData name="Robert Johnstone" userId="cb449c38944dd802" providerId="LiveId" clId="{00E079DC-640D-424F-8DF1-351EB8A0556F}" dt="2020-03-29T17:23:18.855" v="37" actId="313"/>
          <ac:spMkLst>
            <pc:docMk/>
            <pc:sldMk cId="2113119846" sldId="1971"/>
            <ac:spMk id="4" creationId="{847D5D02-5875-B44C-9B4C-348BDA45A985}"/>
          </ac:spMkLst>
        </pc:spChg>
      </pc:sldChg>
      <pc:sldChg chg="modSp">
        <pc:chgData name="Robert Johnstone" userId="cb449c38944dd802" providerId="LiveId" clId="{00E079DC-640D-424F-8DF1-351EB8A0556F}" dt="2020-03-29T17:31:55.740" v="257" actId="20577"/>
        <pc:sldMkLst>
          <pc:docMk/>
          <pc:sldMk cId="3619974840" sldId="1975"/>
        </pc:sldMkLst>
        <pc:spChg chg="mod">
          <ac:chgData name="Robert Johnstone" userId="cb449c38944dd802" providerId="LiveId" clId="{00E079DC-640D-424F-8DF1-351EB8A0556F}" dt="2020-03-29T17:31:55.740" v="257" actId="20577"/>
          <ac:spMkLst>
            <pc:docMk/>
            <pc:sldMk cId="3619974840" sldId="1975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4:34.598" v="80" actId="6549"/>
          <ac:spMkLst>
            <pc:docMk/>
            <pc:sldMk cId="3619974840" sldId="1975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1:59.759" v="259" actId="20577"/>
        <pc:sldMkLst>
          <pc:docMk/>
          <pc:sldMk cId="3406559750" sldId="1976"/>
        </pc:sldMkLst>
        <pc:spChg chg="mod">
          <ac:chgData name="Robert Johnstone" userId="cb449c38944dd802" providerId="LiveId" clId="{00E079DC-640D-424F-8DF1-351EB8A0556F}" dt="2020-03-29T17:31:59.759" v="259" actId="20577"/>
          <ac:spMkLst>
            <pc:docMk/>
            <pc:sldMk cId="3406559750" sldId="1976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13.903" v="98" actId="115"/>
          <ac:spMkLst>
            <pc:docMk/>
            <pc:sldMk cId="3406559750" sldId="1976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32:03.604" v="261" actId="20577"/>
        <pc:sldMkLst>
          <pc:docMk/>
          <pc:sldMk cId="534680157" sldId="1977"/>
        </pc:sldMkLst>
        <pc:spChg chg="mod">
          <ac:chgData name="Robert Johnstone" userId="cb449c38944dd802" providerId="LiveId" clId="{00E079DC-640D-424F-8DF1-351EB8A0556F}" dt="2020-03-29T17:32:03.604" v="261" actId="20577"/>
          <ac:spMkLst>
            <pc:docMk/>
            <pc:sldMk cId="534680157" sldId="1977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25:43.710" v="107" actId="115"/>
          <ac:spMkLst>
            <pc:docMk/>
            <pc:sldMk cId="534680157" sldId="1977"/>
            <ac:spMk id="3" creationId="{84B0A658-148F-1A40-9016-484DCCC34CEC}"/>
          </ac:spMkLst>
        </pc:spChg>
      </pc:sldChg>
      <pc:sldChg chg="modSp">
        <pc:chgData name="Robert Johnstone" userId="cb449c38944dd802" providerId="LiveId" clId="{00E079DC-640D-424F-8DF1-351EB8A0556F}" dt="2020-03-29T17:26:22.771" v="132" actId="1036"/>
        <pc:sldMkLst>
          <pc:docMk/>
          <pc:sldMk cId="2124083659" sldId="1978"/>
        </pc:sldMkLst>
        <pc:spChg chg="mod">
          <ac:chgData name="Robert Johnstone" userId="cb449c38944dd802" providerId="LiveId" clId="{00E079DC-640D-424F-8DF1-351EB8A0556F}" dt="2020-03-29T17:26:02.910" v="112" actId="20577"/>
          <ac:spMkLst>
            <pc:docMk/>
            <pc:sldMk cId="2124083659" sldId="1978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22.771" v="132" actId="1036"/>
          <ac:spMkLst>
            <pc:docMk/>
            <pc:sldMk cId="2124083659" sldId="1978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6:43.944" v="156" actId="1036"/>
        <pc:sldMkLst>
          <pc:docMk/>
          <pc:sldMk cId="1200350627" sldId="1979"/>
        </pc:sldMkLst>
        <pc:spChg chg="mod">
          <ac:chgData name="Robert Johnstone" userId="cb449c38944dd802" providerId="LiveId" clId="{00E079DC-640D-424F-8DF1-351EB8A0556F}" dt="2020-03-29T17:26:38.918" v="141" actId="20577"/>
          <ac:spMkLst>
            <pc:docMk/>
            <pc:sldMk cId="1200350627" sldId="1979"/>
            <ac:spMk id="2" creationId="{A212896D-3920-EA43-A026-51741A7F2227}"/>
          </ac:spMkLst>
        </pc:spChg>
        <pc:spChg chg="mod">
          <ac:chgData name="Robert Johnstone" userId="cb449c38944dd802" providerId="LiveId" clId="{00E079DC-640D-424F-8DF1-351EB8A0556F}" dt="2020-03-29T17:26:43.944" v="156" actId="1036"/>
          <ac:spMkLst>
            <pc:docMk/>
            <pc:sldMk cId="1200350627" sldId="1979"/>
            <ac:spMk id="5" creationId="{7CDEF541-B067-E349-824C-CA149825556E}"/>
          </ac:spMkLst>
        </pc:spChg>
      </pc:sldChg>
      <pc:sldChg chg="modSp add">
        <pc:chgData name="Robert Johnstone" userId="cb449c38944dd802" providerId="LiveId" clId="{00E079DC-640D-424F-8DF1-351EB8A0556F}" dt="2020-03-29T17:28:02.954" v="222" actId="403"/>
        <pc:sldMkLst>
          <pc:docMk/>
          <pc:sldMk cId="2603504375" sldId="1980"/>
        </pc:sldMkLst>
        <pc:spChg chg="mod">
          <ac:chgData name="Robert Johnstone" userId="cb449c38944dd802" providerId="LiveId" clId="{00E079DC-640D-424F-8DF1-351EB8A0556F}" dt="2020-03-29T17:27:48.859" v="215" actId="20577"/>
          <ac:spMkLst>
            <pc:docMk/>
            <pc:sldMk cId="2603504375" sldId="1980"/>
            <ac:spMk id="2" creationId="{489FC065-4E0A-CC4D-B2A3-53DA6780C94F}"/>
          </ac:spMkLst>
        </pc:spChg>
        <pc:spChg chg="mod">
          <ac:chgData name="Robert Johnstone" userId="cb449c38944dd802" providerId="LiveId" clId="{00E079DC-640D-424F-8DF1-351EB8A0556F}" dt="2020-03-29T17:28:02.954" v="222" actId="403"/>
          <ac:spMkLst>
            <pc:docMk/>
            <pc:sldMk cId="2603504375" sldId="1980"/>
            <ac:spMk id="4" creationId="{12A78684-835C-5C44-946B-7F76B373D4FB}"/>
          </ac:spMkLst>
        </pc:spChg>
      </pc:sldChg>
      <pc:sldChg chg="modSp add">
        <pc:chgData name="Robert Johnstone" userId="cb449c38944dd802" providerId="LiveId" clId="{00E079DC-640D-424F-8DF1-351EB8A0556F}" dt="2020-03-29T17:32:42.534" v="295" actId="1036"/>
        <pc:sldMkLst>
          <pc:docMk/>
          <pc:sldMk cId="3213521999" sldId="1981"/>
        </pc:sldMkLst>
        <pc:spChg chg="mod">
          <ac:chgData name="Robert Johnstone" userId="cb449c38944dd802" providerId="LiveId" clId="{00E079DC-640D-424F-8DF1-351EB8A0556F}" dt="2020-03-29T17:31:48.775" v="251" actId="20577"/>
          <ac:spMkLst>
            <pc:docMk/>
            <pc:sldMk cId="3213521999" sldId="1981"/>
            <ac:spMk id="2" creationId="{CF47C920-260A-064B-B9CA-04A1A3A986D1}"/>
          </ac:spMkLst>
        </pc:spChg>
        <pc:spChg chg="mod">
          <ac:chgData name="Robert Johnstone" userId="cb449c38944dd802" providerId="LiveId" clId="{00E079DC-640D-424F-8DF1-351EB8A0556F}" dt="2020-03-29T17:32:42.534" v="295" actId="1036"/>
          <ac:spMkLst>
            <pc:docMk/>
            <pc:sldMk cId="3213521999" sldId="1981"/>
            <ac:spMk id="3" creationId="{84B0A658-148F-1A40-9016-484DCCC34CEC}"/>
          </ac:spMkLst>
        </pc:spChg>
      </pc:sldChg>
    </pc:docChg>
  </pc:docChgLst>
  <pc:docChgLst>
    <pc:chgData name="Guest User" userId="53fee52f947392e3" providerId="Windows Live" clId="Web-{544AFD79-8620-4B7C-97C1-83AE9902C830}"/>
    <pc:docChg chg="modSld">
      <pc:chgData name="Guest User" userId="53fee52f947392e3" providerId="Windows Live" clId="Web-{544AFD79-8620-4B7C-97C1-83AE9902C830}" dt="2020-08-17T16:45:42.282" v="677" actId="20577"/>
      <pc:docMkLst>
        <pc:docMk/>
      </pc:docMkLst>
      <pc:sldChg chg="modSp">
        <pc:chgData name="Guest User" userId="53fee52f947392e3" providerId="Windows Live" clId="Web-{544AFD79-8620-4B7C-97C1-83AE9902C830}" dt="2020-08-17T16:43:37.187" v="391" actId="20577"/>
        <pc:sldMkLst>
          <pc:docMk/>
          <pc:sldMk cId="3720268094" sldId="1952"/>
        </pc:sldMkLst>
        <pc:spChg chg="mod">
          <ac:chgData name="Guest User" userId="53fee52f947392e3" providerId="Windows Live" clId="Web-{544AFD79-8620-4B7C-97C1-83AE9902C830}" dt="2020-08-17T16:42:36.233" v="296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Guest User" userId="53fee52f947392e3" providerId="Windows Live" clId="Web-{544AFD79-8620-4B7C-97C1-83AE9902C830}" dt="2020-08-17T16:43:37.187" v="391" actId="20577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Guest User" userId="53fee52f947392e3" providerId="Windows Live" clId="Web-{544AFD79-8620-4B7C-97C1-83AE9902C830}" dt="2020-08-17T16:38:15.653" v="83" actId="20577"/>
        <pc:sldMkLst>
          <pc:docMk/>
          <pc:sldMk cId="159093646" sldId="1956"/>
        </pc:sldMkLst>
        <pc:spChg chg="mod">
          <ac:chgData name="Guest User" userId="53fee52f947392e3" providerId="Windows Live" clId="Web-{544AFD79-8620-4B7C-97C1-83AE9902C830}" dt="2020-08-17T16:38:15.653" v="83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Guest User" userId="53fee52f947392e3" providerId="Windows Live" clId="Web-{544AFD79-8620-4B7C-97C1-83AE9902C830}" dt="2020-08-17T16:05:36.871" v="8" actId="20577"/>
        <pc:sldMkLst>
          <pc:docMk/>
          <pc:sldMk cId="682321964" sldId="1959"/>
        </pc:sldMkLst>
        <pc:spChg chg="mod">
          <ac:chgData name="Guest User" userId="53fee52f947392e3" providerId="Windows Live" clId="Web-{544AFD79-8620-4B7C-97C1-83AE9902C830}" dt="2020-08-17T16:05:36.871" v="8" actId="20577"/>
          <ac:spMkLst>
            <pc:docMk/>
            <pc:sldMk cId="682321964" sldId="1959"/>
            <ac:spMk id="3" creationId="{00000000-0000-0000-0000-000000000000}"/>
          </ac:spMkLst>
        </pc:spChg>
      </pc:sldChg>
      <pc:sldChg chg="modSp">
        <pc:chgData name="Guest User" userId="53fee52f947392e3" providerId="Windows Live" clId="Web-{544AFD79-8620-4B7C-97C1-83AE9902C830}" dt="2020-08-17T16:45:41.579" v="675" actId="20577"/>
        <pc:sldMkLst>
          <pc:docMk/>
          <pc:sldMk cId="2113119846" sldId="1971"/>
        </pc:sldMkLst>
        <pc:spChg chg="mod">
          <ac:chgData name="Guest User" userId="53fee52f947392e3" providerId="Windows Live" clId="Web-{544AFD79-8620-4B7C-97C1-83AE9902C830}" dt="2020-08-17T16:44:11.563" v="432" actId="20577"/>
          <ac:spMkLst>
            <pc:docMk/>
            <pc:sldMk cId="2113119846" sldId="1971"/>
            <ac:spMk id="2" creationId="{E3446B13-2E95-464E-BF8F-7A7ACDF2D27C}"/>
          </ac:spMkLst>
        </pc:spChg>
        <pc:spChg chg="mod">
          <ac:chgData name="Guest User" userId="53fee52f947392e3" providerId="Windows Live" clId="Web-{544AFD79-8620-4B7C-97C1-83AE9902C830}" dt="2020-08-17T16:45:41.579" v="675" actId="20577"/>
          <ac:spMkLst>
            <pc:docMk/>
            <pc:sldMk cId="2113119846" sldId="1971"/>
            <ac:spMk id="4" creationId="{847D5D02-5875-B44C-9B4C-348BDA45A985}"/>
          </ac:spMkLst>
        </pc:spChg>
      </pc:sldChg>
      <pc:sldChg chg="modSp">
        <pc:chgData name="Guest User" userId="53fee52f947392e3" providerId="Windows Live" clId="Web-{544AFD79-8620-4B7C-97C1-83AE9902C830}" dt="2020-08-17T16:39:07.278" v="90" actId="20577"/>
        <pc:sldMkLst>
          <pc:docMk/>
          <pc:sldMk cId="2124083659" sldId="1978"/>
        </pc:sldMkLst>
        <pc:spChg chg="mod">
          <ac:chgData name="Guest User" userId="53fee52f947392e3" providerId="Windows Live" clId="Web-{544AFD79-8620-4B7C-97C1-83AE9902C830}" dt="2020-08-17T16:39:07.278" v="90" actId="20577"/>
          <ac:spMkLst>
            <pc:docMk/>
            <pc:sldMk cId="2124083659" sldId="1978"/>
            <ac:spMk id="5" creationId="{7CDEF541-B067-E349-824C-CA149825556E}"/>
          </ac:spMkLst>
        </pc:spChg>
      </pc:sldChg>
      <pc:sldChg chg="modSp">
        <pc:chgData name="Guest User" userId="53fee52f947392e3" providerId="Windows Live" clId="Web-{544AFD79-8620-4B7C-97C1-83AE9902C830}" dt="2020-08-17T16:43:40.734" v="396" actId="20577"/>
        <pc:sldMkLst>
          <pc:docMk/>
          <pc:sldMk cId="2947124713" sldId="1987"/>
        </pc:sldMkLst>
        <pc:spChg chg="mod">
          <ac:chgData name="Guest User" userId="53fee52f947392e3" providerId="Windows Live" clId="Web-{544AFD79-8620-4B7C-97C1-83AE9902C830}" dt="2020-08-17T16:42:32.530" v="293" actId="20577"/>
          <ac:spMkLst>
            <pc:docMk/>
            <pc:sldMk cId="2947124713" sldId="1987"/>
            <ac:spMk id="2" creationId="{CF47C920-260A-064B-B9CA-04A1A3A986D1}"/>
          </ac:spMkLst>
        </pc:spChg>
        <pc:spChg chg="mod">
          <ac:chgData name="Guest User" userId="53fee52f947392e3" providerId="Windows Live" clId="Web-{544AFD79-8620-4B7C-97C1-83AE9902C830}" dt="2020-08-17T16:43:40.734" v="396" actId="20577"/>
          <ac:spMkLst>
            <pc:docMk/>
            <pc:sldMk cId="2947124713" sldId="1987"/>
            <ac:spMk id="3" creationId="{84B0A658-148F-1A40-9016-484DCCC34CEC}"/>
          </ac:spMkLst>
        </pc:spChg>
      </pc:sldChg>
    </pc:docChg>
  </pc:docChgLst>
  <pc:docChgLst>
    <pc:chgData name="Robert Johnstone" userId="cb449c38944dd802" providerId="LiveId" clId="{C2277FAC-A4BD-416B-92CA-B3D38F73E87B}"/>
    <pc:docChg chg="custSel modSld">
      <pc:chgData name="Robert Johnstone" userId="cb449c38944dd802" providerId="LiveId" clId="{C2277FAC-A4BD-416B-92CA-B3D38F73E87B}" dt="2020-04-27T14:23:52.376" v="6" actId="20577"/>
      <pc:docMkLst>
        <pc:docMk/>
      </pc:docMkLst>
      <pc:sldChg chg="delCm">
        <pc:chgData name="Robert Johnstone" userId="cb449c38944dd802" providerId="LiveId" clId="{C2277FAC-A4BD-416B-92CA-B3D38F73E87B}" dt="2020-04-24T19:59:48.419" v="0" actId="1592"/>
        <pc:sldMkLst>
          <pc:docMk/>
          <pc:sldMk cId="128915136" sldId="1947"/>
        </pc:sldMkLst>
      </pc:sldChg>
      <pc:sldChg chg="modSp">
        <pc:chgData name="Robert Johnstone" userId="cb449c38944dd802" providerId="LiveId" clId="{C2277FAC-A4BD-416B-92CA-B3D38F73E87B}" dt="2020-04-27T14:23:52.376" v="6" actId="20577"/>
        <pc:sldMkLst>
          <pc:docMk/>
          <pc:sldMk cId="2603504375" sldId="1980"/>
        </pc:sldMkLst>
        <pc:spChg chg="mod">
          <ac:chgData name="Robert Johnstone" userId="cb449c38944dd802" providerId="LiveId" clId="{C2277FAC-A4BD-416B-92CA-B3D38F73E87B}" dt="2020-04-27T14:23:52.376" v="6" actId="20577"/>
          <ac:spMkLst>
            <pc:docMk/>
            <pc:sldMk cId="2603504375" sldId="1980"/>
            <ac:spMk id="4" creationId="{12A78684-835C-5C44-946B-7F76B373D4FB}"/>
          </ac:spMkLst>
        </pc:spChg>
      </pc:sldChg>
    </pc:docChg>
  </pc:docChgLst>
  <pc:docChgLst>
    <pc:chgData name="Guest User" userId="53fee52f947392e3" providerId="Windows Live" clId="Web-{7DB94997-C8F0-4693-A0FE-258C3A268589}"/>
    <pc:docChg chg="modSld">
      <pc:chgData name="Guest User" userId="53fee52f947392e3" providerId="Windows Live" clId="Web-{7DB94997-C8F0-4693-A0FE-258C3A268589}" dt="2020-08-11T15:50:13.875" v="101" actId="20577"/>
      <pc:docMkLst>
        <pc:docMk/>
      </pc:docMkLst>
      <pc:sldChg chg="modSp">
        <pc:chgData name="Guest User" userId="53fee52f947392e3" providerId="Windows Live" clId="Web-{7DB94997-C8F0-4693-A0FE-258C3A268589}" dt="2020-08-11T15:50:13.875" v="101" actId="20577"/>
        <pc:sldMkLst>
          <pc:docMk/>
          <pc:sldMk cId="682321964" sldId="1959"/>
        </pc:sldMkLst>
        <pc:spChg chg="mod">
          <ac:chgData name="Guest User" userId="53fee52f947392e3" providerId="Windows Live" clId="Web-{7DB94997-C8F0-4693-A0FE-258C3A268589}" dt="2020-08-11T15:50:13.875" v="101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11809C18-7FA1-47EE-B57A-E7DBA4272B23}"/>
    <pc:docChg chg="modSld">
      <pc:chgData name="Robert Johnstone" userId="cb449c38944dd802" providerId="LiveId" clId="{11809C18-7FA1-47EE-B57A-E7DBA4272B23}" dt="2020-06-23T01:27:29.455" v="97" actId="20577"/>
      <pc:docMkLst>
        <pc:docMk/>
      </pc:docMkLst>
      <pc:sldChg chg="modSp mod">
        <pc:chgData name="Robert Johnstone" userId="cb449c38944dd802" providerId="LiveId" clId="{11809C18-7FA1-47EE-B57A-E7DBA4272B23}" dt="2020-06-23T01:27:29.455" v="97" actId="20577"/>
        <pc:sldMkLst>
          <pc:docMk/>
          <pc:sldMk cId="2539340765" sldId="1025"/>
        </pc:sldMkLst>
        <pc:spChg chg="mod">
          <ac:chgData name="Robert Johnstone" userId="cb449c38944dd802" providerId="LiveId" clId="{11809C18-7FA1-47EE-B57A-E7DBA4272B23}" dt="2020-06-23T01:27:29.455" v="97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11809C18-7FA1-47EE-B57A-E7DBA4272B23}" dt="2020-06-22T13:00:37.281" v="89" actId="20577"/>
        <pc:sldMkLst>
          <pc:docMk/>
          <pc:sldMk cId="128915136" sldId="1947"/>
        </pc:sldMkLst>
        <pc:spChg chg="mod">
          <ac:chgData name="Robert Johnstone" userId="cb449c38944dd802" providerId="LiveId" clId="{11809C18-7FA1-47EE-B57A-E7DBA4272B23}" dt="2020-06-22T13:00:37.281" v="89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11809C18-7FA1-47EE-B57A-E7DBA4272B23}" dt="2020-06-22T13:00:55.250" v="96" actId="20577"/>
        <pc:sldMkLst>
          <pc:docMk/>
          <pc:sldMk cId="159093646" sldId="1956"/>
        </pc:sldMkLst>
        <pc:spChg chg="mod">
          <ac:chgData name="Robert Johnstone" userId="cb449c38944dd802" providerId="LiveId" clId="{11809C18-7FA1-47EE-B57A-E7DBA4272B23}" dt="2020-06-22T13:00:55.250" v="96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11809C18-7FA1-47EE-B57A-E7DBA4272B23}" dt="2020-06-22T13:00:42.081" v="91" actId="20577"/>
        <pc:sldMkLst>
          <pc:docMk/>
          <pc:sldMk cId="682321964" sldId="1959"/>
        </pc:sldMkLst>
        <pc:spChg chg="mod">
          <ac:chgData name="Robert Johnstone" userId="cb449c38944dd802" providerId="LiveId" clId="{11809C18-7FA1-47EE-B57A-E7DBA4272B23}" dt="2020-06-22T13:00:42.081" v="91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8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Presenter’s contact information goes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2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17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August 17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8/17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August 17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Add Presentation Title</a:t>
            </a:r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Presenters’ Names</a:t>
            </a:r>
            <a:endParaRPr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Add Transition Title</a:t>
            </a:r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Subtitle</a:t>
            </a:r>
            <a:endParaRPr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Transition Title</a:t>
            </a:r>
            <a:endParaRPr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##</a:t>
            </a:r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Presenter’s contact information goes he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2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Add Presentation Title</a:t>
            </a:r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Presenters’ Names</a:t>
            </a:r>
            <a:endParaRPr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Add Transition Title</a:t>
            </a:r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Subtitle</a:t>
            </a:r>
            <a:endParaRPr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to Add Transition Title</a:t>
            </a:r>
            <a:endParaRPr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##</a:t>
            </a:r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 xmlns="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 xmlns="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 xmlns="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811830"/>
            <a:ext cx="7982901" cy="3644840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>
                <a:latin typeface="Calibri"/>
                <a:cs typeface="Calibri"/>
              </a:rPr>
              <a:t> </a:t>
            </a:r>
            <a:r>
              <a:rPr lang="en-US" sz="4900" b="1">
                <a:latin typeface="Calibri"/>
                <a:cs typeface="Calibri"/>
              </a:rPr>
              <a:t>Leading Culture Change to Promote Equity: Perspectives from a White CEO</a:t>
            </a:r>
            <a:br>
              <a:rPr lang="en-US" sz="4900" b="1"/>
            </a:br>
            <a:r>
              <a:rPr lang="en-US" sz="4900" b="1">
                <a:latin typeface="Calibri"/>
                <a:cs typeface="Calibri"/>
              </a:rPr>
              <a:t>  </a:t>
            </a:r>
            <a: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  <a:t>Advancing Equity through Guided Pathways Series </a:t>
            </a:r>
            <a:b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</a:br>
            <a: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  <a:t>Discussion Guide #3 </a:t>
            </a:r>
            <a:br>
              <a:rPr lang="en-US" sz="2800" b="1" i="1"/>
            </a:br>
            <a:br>
              <a:rPr lang="en-US" sz="2800" b="1" i="1"/>
            </a:br>
            <a: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  <a:t>Bill Scroggins, Mt. San Antonio College,</a:t>
            </a:r>
            <a:br>
              <a:rPr lang="en-US" sz="2800" b="1" i="1"/>
            </a:br>
            <a: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  <a:t>with Introduction by </a:t>
            </a:r>
            <a:br>
              <a:rPr lang="en-US" sz="2800" b="1" i="1"/>
            </a:br>
            <a:r>
              <a:rPr lang="en-US" sz="2800" b="1" i="1">
                <a:solidFill>
                  <a:srgbClr val="549E39"/>
                </a:solidFill>
                <a:latin typeface="Calibri"/>
                <a:cs typeface="Calibri"/>
              </a:rPr>
              <a:t>Kay McClenney, American Association of Community Colleges</a:t>
            </a:r>
            <a:endParaRPr lang="en-US" sz="2800">
              <a:solidFill>
                <a:srgbClr val="549E39"/>
              </a:solidFill>
              <a:latin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BEFA8C-A754-4739-AEB3-9B0D633E13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/>
              <a:t>Independently read </a:t>
            </a:r>
            <a:r>
              <a:rPr lang="en-US" i="1"/>
              <a:t>Advancing Equity through Guided Pathways Discussion Guide 3</a:t>
            </a:r>
          </a:p>
          <a:p>
            <a:r>
              <a:rPr lang="en-US"/>
              <a:t>Review the highlights (below) on </a:t>
            </a:r>
            <a:r>
              <a:rPr lang="en-US" u="sng"/>
              <a:t>leading culture change to promote equity</a:t>
            </a:r>
          </a:p>
          <a:p>
            <a:pPr>
              <a:spcBef>
                <a:spcPts val="1500"/>
              </a:spcBef>
            </a:pPr>
            <a:r>
              <a:rPr lang="en-US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076960"/>
            <a:ext cx="8219440" cy="5293360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>
              <a:spcBef>
                <a:spcPts val="1500"/>
              </a:spcBef>
            </a:pPr>
            <a:r>
              <a:rPr lang="en-US" sz="2600" dirty="0">
                <a:latin typeface="Calibri"/>
                <a:cs typeface="Calibri"/>
              </a:rPr>
              <a:t>Prepared as companion to the </a:t>
            </a:r>
            <a:r>
              <a:rPr lang="en-US" sz="2600" i="1" dirty="0">
                <a:latin typeface="Calibri"/>
                <a:cs typeface="Calibri"/>
              </a:rPr>
              <a:t>Advancing Equity in Guided Pathways Discussion Guide 2: </a:t>
            </a:r>
            <a:r>
              <a:rPr lang="en-US" sz="2600" dirty="0">
                <a:latin typeface="Calibri"/>
                <a:cs typeface="Calibri"/>
              </a:rPr>
              <a:t>Leading Culture Change to Promote Equity: Perspectives from a CEO of Color</a:t>
            </a:r>
          </a:p>
          <a:p>
            <a:pPr lvl="1">
              <a:spcBef>
                <a:spcPts val="1500"/>
              </a:spcBef>
              <a:buFont typeface="Wingdings" panose="020B0604020202020204" pitchFamily="34" charset="0"/>
              <a:buChar char="ü"/>
            </a:pPr>
            <a:r>
              <a:rPr lang="en-US" sz="2200" i="1" dirty="0">
                <a:solidFill>
                  <a:schemeClr val="accent1"/>
                </a:solidFill>
                <a:latin typeface="Calibri"/>
                <a:cs typeface="Calibri"/>
              </a:rPr>
              <a:t>Authored by Michael A. Baston, Rockland Community College, with Introduction by Kay McClenney, American Association of Community Colleges</a:t>
            </a:r>
          </a:p>
          <a:p>
            <a:pPr>
              <a:spcBef>
                <a:spcPts val="1500"/>
              </a:spcBef>
            </a:pPr>
            <a:r>
              <a:rPr lang="en-US" sz="2600" dirty="0">
                <a:latin typeface="Calibri"/>
                <a:cs typeface="Calibri"/>
              </a:rPr>
              <a:t>Intended to foster critical campus conversations about increasing student equity under a Guided Pathways umbrella </a:t>
            </a:r>
            <a:endParaRPr lang="en-US" sz="2600" dirty="0">
              <a:cs typeface="Calibri"/>
            </a:endParaRPr>
          </a:p>
          <a:p>
            <a:pPr lvl="1">
              <a:spcBef>
                <a:spcPts val="700"/>
              </a:spcBef>
            </a:pPr>
            <a:r>
              <a:rPr lang="en-US" sz="2200" dirty="0">
                <a:latin typeface="Calibri"/>
                <a:cs typeface="Calibri"/>
              </a:rPr>
              <a:t>Across the series, authors bring their own unique perspectives on &amp; approach to the issue; no guide is intended as the definitive word on its topic</a:t>
            </a:r>
            <a:endParaRPr lang="en-US" sz="2200" i="1" dirty="0">
              <a:cs typeface="Calibri"/>
            </a:endParaRPr>
          </a:p>
          <a:p>
            <a:pPr marL="457200" indent="-457200">
              <a:buFont typeface="Arial" pitchFamily="34" charset="0"/>
              <a:buChar char="•"/>
            </a:pP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080" y="645213"/>
            <a:ext cx="7680960" cy="1371600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rgbClr val="2C7D88"/>
                </a:solidFill>
                <a:latin typeface="Calibri"/>
                <a:cs typeface="Calibri"/>
              </a:rPr>
              <a:t>How Can Leaders Lead in the Guided Pathways and Equity Context?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9573" y="2017411"/>
            <a:ext cx="7680960" cy="409247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Rethink your understanding of equity</a:t>
            </a:r>
            <a:endParaRPr lang="en-US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Shift your leadership approach to focus on the student and employee experience</a:t>
            </a: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Facilitate equity-mindedness</a:t>
            </a:r>
            <a:endParaRPr lang="en-US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Provide opportunities for the college community to face the reality of implicit and institutional bias</a:t>
            </a:r>
            <a:endParaRPr lang="en-US" dirty="0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Support professional development</a:t>
            </a:r>
            <a:endParaRPr lang="en-US" dirty="0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Improve hiring practices</a:t>
            </a:r>
            <a:endParaRPr lang="en-US" dirty="0">
              <a:latin typeface="Calibri"/>
              <a:cs typeface="Calibri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r>
              <a:rPr lang="en-US">
                <a:latin typeface="Calibri"/>
                <a:cs typeface="Calibri"/>
              </a:rPr>
              <a:t>Design guided pathways with equity in mind</a:t>
            </a:r>
            <a:endParaRPr lang="en-US" dirty="0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endParaRPr lang="en-US">
              <a:cs typeface="Calibri" panose="020F0502020204030204" pitchFamily="34" charset="0"/>
            </a:endParaRPr>
          </a:p>
          <a:p>
            <a:pPr marL="514350" indent="-514350">
              <a:spcBef>
                <a:spcPts val="1500"/>
              </a:spcBef>
              <a:buAutoNum type="arabicPeriod"/>
            </a:pPr>
            <a:endParaRPr lang="en-US" baseline="30000">
              <a:cs typeface="Calibri" panose="020F0502020204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119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pPr algn="ctr"/>
            <a:r>
              <a:rPr lang="en-US">
                <a:solidFill>
                  <a:srgbClr val="2C7D88"/>
                </a:solidFill>
                <a:latin typeface="Calibri"/>
                <a:cs typeface="Calibri"/>
              </a:rPr>
              <a:t>Foster Equity Mindedness: Examples (1)</a:t>
            </a:r>
            <a:endParaRPr lang="en-US" dirty="0">
              <a:solidFill>
                <a:srgbClr val="2C7D88"/>
              </a:solidFill>
              <a:latin typeface="Calibri"/>
              <a:cs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613" y="1330749"/>
            <a:ext cx="7874000" cy="4483002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algn="ctr"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Reflect on Mission and Core Values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Revisit Financial Aid Eligibility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Develop Communities of Practice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Revise Recruiting Materials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Create Support for Need-Based Cohorts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Convene All-College Meetings</a:t>
            </a:r>
          </a:p>
          <a:p>
            <a:pPr>
              <a:spcBef>
                <a:spcPts val="1500"/>
              </a:spcBef>
            </a:pPr>
            <a:r>
              <a:rPr lang="en-US">
                <a:latin typeface="Calibri"/>
                <a:cs typeface="Calibri"/>
              </a:rPr>
              <a:t>Enable Hiring Committees that Focus on Evaluating Job </a:t>
            </a:r>
            <a:r>
              <a:rPr lang="en-US" dirty="0">
                <a:latin typeface="Calibri"/>
                <a:cs typeface="Calibri"/>
              </a:rPr>
              <a:t>Performance, not History</a:t>
            </a: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5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206103"/>
            <a:ext cx="7680960" cy="1371600"/>
          </a:xfrm>
        </p:spPr>
        <p:txBody>
          <a:bodyPr>
            <a:normAutofit/>
          </a:bodyPr>
          <a:lstStyle/>
          <a:p>
            <a:pPr algn="ctr"/>
            <a:r>
              <a:rPr lang="en-US">
                <a:solidFill>
                  <a:srgbClr val="2C7D88"/>
                </a:solidFill>
                <a:latin typeface="Calibri"/>
                <a:cs typeface="Calibri"/>
              </a:rPr>
              <a:t>Foster</a:t>
            </a:r>
            <a:r>
              <a:rPr lang="en-US" dirty="0">
                <a:solidFill>
                  <a:srgbClr val="2C7D88"/>
                </a:solidFill>
                <a:latin typeface="Calibri"/>
                <a:cs typeface="Calibri"/>
              </a:rPr>
              <a:t> Equity Mindedness</a:t>
            </a:r>
            <a:r>
              <a:rPr lang="en-US">
                <a:solidFill>
                  <a:srgbClr val="2C7D88"/>
                </a:solidFill>
                <a:latin typeface="Calibri"/>
                <a:cs typeface="Calibri"/>
              </a:rPr>
              <a:t>: Examples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613" y="1330749"/>
            <a:ext cx="7874000" cy="448300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algn="ctr"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  <a:buFont typeface="Arial" charset="2"/>
              <a:buChar char="•"/>
            </a:pPr>
            <a:r>
              <a:rPr lang="en-US">
                <a:latin typeface="Calibri"/>
                <a:cs typeface="Calibri"/>
              </a:rPr>
              <a:t>Integrate Academic Support with Instruction</a:t>
            </a:r>
          </a:p>
          <a:p>
            <a:pPr>
              <a:spcBef>
                <a:spcPts val="1500"/>
              </a:spcBef>
              <a:buFont typeface="Arial" charset="2"/>
              <a:buChar char="•"/>
            </a:pPr>
            <a:r>
              <a:rPr lang="en-US">
                <a:latin typeface="Calibri"/>
                <a:cs typeface="Calibri"/>
              </a:rPr>
              <a:t>Embed Academic Support Centers, Supplemental Instruction, </a:t>
            </a:r>
            <a:r>
              <a:rPr lang="en-US" dirty="0">
                <a:latin typeface="Calibri"/>
                <a:cs typeface="Calibri"/>
              </a:rPr>
              <a:t>and Tutors in the Classroom</a:t>
            </a:r>
          </a:p>
          <a:p>
            <a:pPr>
              <a:spcBef>
                <a:spcPts val="1500"/>
              </a:spcBef>
              <a:buFont typeface="Arial" charset="2"/>
              <a:buChar char="•"/>
            </a:pPr>
            <a:r>
              <a:rPr lang="en-US">
                <a:latin typeface="Calibri"/>
                <a:cs typeface="Calibri"/>
              </a:rPr>
              <a:t>Engage Others in Developing Authentic Messaging</a:t>
            </a:r>
          </a:p>
          <a:p>
            <a:pPr>
              <a:spcBef>
                <a:spcPts val="1500"/>
              </a:spcBef>
              <a:buFont typeface="Arial" charset="2"/>
              <a:buChar char="•"/>
            </a:pPr>
            <a:r>
              <a:rPr lang="en-US">
                <a:latin typeface="Calibri"/>
                <a:cs typeface="Calibri"/>
              </a:rPr>
              <a:t>Disaggregate Student Data for Planning and Development </a:t>
            </a:r>
          </a:p>
          <a:p>
            <a:pPr>
              <a:spcBef>
                <a:spcPts val="1500"/>
              </a:spcBef>
              <a:buFont typeface="Arial" charset="2"/>
              <a:buChar char="•"/>
            </a:pPr>
            <a:r>
              <a:rPr lang="en-US" dirty="0">
                <a:latin typeface="Calibri"/>
                <a:cs typeface="Calibri"/>
              </a:rPr>
              <a:t>Foster Critical Conversations About Embracing </a:t>
            </a:r>
            <a:br>
              <a:rPr lang="en-US" dirty="0">
                <a:latin typeface="Calibri"/>
                <a:cs typeface="Calibri"/>
              </a:rPr>
            </a:br>
            <a:r>
              <a:rPr lang="en-US">
                <a:latin typeface="Calibri"/>
                <a:cs typeface="Calibri"/>
              </a:rPr>
              <a:t>Student </a:t>
            </a:r>
            <a:r>
              <a:rPr lang="en-US" dirty="0">
                <a:latin typeface="Calibri"/>
                <a:cs typeface="Calibri"/>
              </a:rPr>
              <a:t>Equity</a:t>
            </a:r>
            <a:endParaRPr lang="en-US" dirty="0">
              <a:cs typeface="Calibri"/>
            </a:endParaRPr>
          </a:p>
          <a:p>
            <a:pPr>
              <a:spcBef>
                <a:spcPts val="1500"/>
              </a:spcBef>
              <a:buFont typeface="Arial" charset="2"/>
              <a:buChar char="•"/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  <a:buFont typeface="Arial" charset="2"/>
              <a:buChar char="•"/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/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  <a:p>
            <a:pPr>
              <a:spcBef>
                <a:spcPts val="1500"/>
              </a:spcBef>
            </a:pPr>
            <a:endParaRPr lang="en-US"/>
          </a:p>
          <a:p>
            <a:pPr>
              <a:spcBef>
                <a:spcPts val="1500"/>
              </a:spcBef>
            </a:pPr>
            <a:endParaRPr lang="en-US"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7124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2C7D88"/>
                </a:solidFill>
              </a:rPr>
              <a:t>Discussion Questions  </a:t>
            </a:r>
            <a:br>
              <a:rPr lang="en-US">
                <a:solidFill>
                  <a:srgbClr val="2C7D88"/>
                </a:solidFill>
              </a:rPr>
            </a:br>
            <a:endParaRPr lang="en-US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4613" y="1105168"/>
            <a:ext cx="7988586" cy="507862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200" i="1">
                <a:latin typeface="Calibri"/>
                <a:cs typeface="Calibri"/>
              </a:rPr>
              <a:t>As a leader, consider…</a:t>
            </a:r>
          </a:p>
          <a:p>
            <a:pPr lvl="0"/>
            <a:r>
              <a:rPr lang="en-US" dirty="0">
                <a:latin typeface="Calibri"/>
                <a:cs typeface="Calibri"/>
              </a:rPr>
              <a:t>What revisions in our college mission and goals would better express a commitment to equity?</a:t>
            </a:r>
          </a:p>
          <a:p>
            <a:pPr lvl="0"/>
            <a:r>
              <a:rPr lang="en-US" dirty="0">
                <a:latin typeface="Calibri"/>
                <a:cs typeface="Calibri"/>
              </a:rPr>
              <a:t>How can we revise “student-facing” materials to more fully reflect college commitment to diversity, equity, and inclusion?</a:t>
            </a:r>
          </a:p>
          <a:p>
            <a:pPr lvl="0"/>
            <a:r>
              <a:rPr lang="en-US" dirty="0">
                <a:latin typeface="Calibri"/>
                <a:cs typeface="Calibri"/>
              </a:rPr>
              <a:t>How do we imbed discipline-appropriate academic supports into the </a:t>
            </a:r>
            <a:r>
              <a:rPr lang="en-US" dirty="0" err="1">
                <a:latin typeface="Calibri"/>
                <a:cs typeface="Calibri"/>
              </a:rPr>
              <a:t>metamajors</a:t>
            </a:r>
            <a:r>
              <a:rPr lang="en-US" dirty="0">
                <a:latin typeface="Calibri"/>
                <a:cs typeface="Calibri"/>
              </a:rPr>
              <a:t>?</a:t>
            </a:r>
          </a:p>
          <a:p>
            <a:pPr lvl="0"/>
            <a:r>
              <a:rPr lang="en-US" dirty="0">
                <a:latin typeface="Calibri"/>
                <a:cs typeface="Calibri"/>
              </a:rPr>
              <a:t>How and when do we provide professional development to address unconscious bia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83659"/>
      </p:ext>
    </p:extLst>
  </p:cSld>
  <p:clrMapOvr>
    <a:masterClrMapping/>
  </p:clrMapOvr>
  <p:transition>
    <p:dissolv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/>
              <a:t>For related content, discussion questions, &amp; research tasks, review: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>
                <a:latin typeface="Calibri"/>
                <a:cs typeface="Calibri"/>
              </a:rPr>
              <a:t>Leading Culture Change to Promote Equity: Perspectives from a CEO of Color (Guide 2)</a:t>
            </a:r>
            <a:endParaRPr lang="en-US" i="1" dirty="0">
              <a:latin typeface="Calibri"/>
              <a:cs typeface="Calibri"/>
            </a:endParaRPr>
          </a:p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>
                <a:latin typeface="Calibri"/>
                <a:cs typeface="Calibri"/>
              </a:rPr>
              <a:t>For all guides &amp; additional information on the series, visit </a:t>
            </a:r>
            <a:r>
              <a:rPr lang="en-US" u="sng" dirty="0">
                <a:latin typeface="Calibri"/>
                <a:cs typeface="Calibri"/>
                <a:hlinkClick r:id="rId2"/>
              </a:rPr>
              <a:t>www.ncii-improve.com</a:t>
            </a:r>
            <a:r>
              <a:rPr lang="en-US" dirty="0">
                <a:latin typeface="Calibri"/>
                <a:cs typeface="Calibri"/>
              </a:rPr>
              <a:t> </a:t>
            </a:r>
            <a:endParaRPr lang="en-US">
              <a:cs typeface="Calibri" panose="020F0502020204030204" pitchFamily="34" charset="0"/>
            </a:endParaRPr>
          </a:p>
          <a:p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On-screen Show (4:3)</PresentationFormat>
  <Slides>8</Slides>
  <Notes>1</Notes>
  <HiddenSlides>0</HiddenSlides>
  <ScaleCrop>false</ScaleCrop>
  <HeadingPairs>
    <vt:vector size="4" baseType="variant">
      <vt:variant>
        <vt:lpstr>Theme</vt:lpstr>
      </vt:variant>
      <vt:variant>
        <vt:i4>8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 Leading Culture Change to Promote Equity: Perspectives from a White CEO   Advancing Equity through Guided Pathways Series  Discussion Guide #3   Bill Scroggins, Mt. San Antonio College, with Introduction by  Kay McClenney, American Association of Community Colleges</vt:lpstr>
      <vt:lpstr>How to Use This Presentation</vt:lpstr>
      <vt:lpstr>Background</vt:lpstr>
      <vt:lpstr>How Can Leaders Lead in the Guided Pathways and Equity Context?</vt:lpstr>
      <vt:lpstr>Foster Equity Mindedness: Examples (1)</vt:lpstr>
      <vt:lpstr>Foster Equity Mindedness: Examples (2)</vt:lpstr>
      <vt:lpstr>Discussion Questions  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revision>80</cp:revision>
  <cp:lastPrinted>2014-07-14T16:09:47Z</cp:lastPrinted>
  <dcterms:created xsi:type="dcterms:W3CDTF">2013-06-11T18:27:20Z</dcterms:created>
  <dcterms:modified xsi:type="dcterms:W3CDTF">2020-08-17T16:45:47Z</dcterms:modified>
</cp:coreProperties>
</file>